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147473974" r:id="rId2"/>
    <p:sldId id="2147473893" r:id="rId3"/>
    <p:sldId id="2147473982" r:id="rId4"/>
    <p:sldId id="2147473988" r:id="rId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6FF"/>
    <a:srgbClr val="2F5697"/>
    <a:srgbClr val="FF0000"/>
    <a:srgbClr val="960000"/>
    <a:srgbClr val="C00000"/>
    <a:srgbClr val="FFF5D6"/>
    <a:srgbClr val="C1E3C3"/>
    <a:srgbClr val="A1D6A4"/>
    <a:srgbClr val="2C632F"/>
    <a:srgbClr val="E0F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275" autoAdjust="0"/>
    <p:restoredTop sz="96197" autoAdjust="0"/>
  </p:normalViewPr>
  <p:slideViewPr>
    <p:cSldViewPr snapToGrid="0">
      <p:cViewPr varScale="1">
        <p:scale>
          <a:sx n="110" d="100"/>
          <a:sy n="110" d="100"/>
        </p:scale>
        <p:origin x="192" y="16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6197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CA860-39FC-4CED-8FB4-2CE4F1DAE006}" type="datetimeFigureOut">
              <a:rPr lang="pt-BR" smtClean="0"/>
              <a:t>12/08/2023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C3C1F4-53CB-4402-B1AC-E8B24DBED85A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2199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t-BR" b="0" i="0" dirty="0">
              <a:solidFill>
                <a:srgbClr val="17181C"/>
              </a:solidFill>
              <a:effectLst/>
              <a:latin typeface="Inter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3C1F4-53CB-4402-B1AC-E8B24DBED85A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1991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t-BR" b="0" i="0" dirty="0">
              <a:solidFill>
                <a:srgbClr val="17181C"/>
              </a:solidFill>
              <a:effectLst/>
              <a:latin typeface="Inter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3C1F4-53CB-4402-B1AC-E8B24DBED85A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5180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b="1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3C1F4-53CB-4402-B1AC-E8B24DBED85A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102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D16289D3-5914-4DDC-BEF7-5A5A4BE6FF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745" y="1096485"/>
            <a:ext cx="4934308" cy="1407004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s-ES" sz="4500" smtClean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ES"/>
            </a:lvl5pPr>
          </a:lstStyle>
          <a:p>
            <a:pPr lvl="0">
              <a:spcBef>
                <a:spcPct val="0"/>
              </a:spcBef>
            </a:pPr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AB17398-CAA7-49B6-868C-44D053E7EA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4620" y="2722142"/>
            <a:ext cx="4934309" cy="243645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lang="en-US" sz="16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F5E5F18D-70E6-495C-A384-2EDAE00309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650" y="333651"/>
            <a:ext cx="11177550" cy="4191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457200" indent="0">
              <a:buNone/>
              <a:defRPr sz="1300">
                <a:solidFill>
                  <a:schemeClr val="tx2"/>
                </a:solidFill>
              </a:defRPr>
            </a:lvl2pPr>
            <a:lvl3pPr marL="914400" indent="0">
              <a:buNone/>
              <a:defRPr sz="1300">
                <a:solidFill>
                  <a:schemeClr val="tx2"/>
                </a:solidFill>
              </a:defRPr>
            </a:lvl3pPr>
            <a:lvl4pPr marL="1371600" indent="0">
              <a:buNone/>
              <a:defRPr sz="1300">
                <a:solidFill>
                  <a:schemeClr val="tx2"/>
                </a:solidFill>
              </a:defRPr>
            </a:lvl4pPr>
            <a:lvl5pPr marL="1828800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67D1300D-9BA1-4612-9EA5-90328019812E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E8F45B3-03ED-4322-91A2-3924AA75A93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19" name="Gráfico 3">
            <a:extLst>
              <a:ext uri="{FF2B5EF4-FFF2-40B4-BE49-F238E27FC236}">
                <a16:creationId xmlns:a16="http://schemas.microsoft.com/office/drawing/2014/main" id="{585DFDA1-99F5-42F0-B3F3-7183DB81D1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031436" y="5796597"/>
            <a:ext cx="1054800" cy="328407"/>
            <a:chOff x="8431252" y="2444549"/>
            <a:chExt cx="1787600" cy="556560"/>
          </a:xfrm>
          <a:solidFill>
            <a:schemeClr val="bg1"/>
          </a:solidFill>
        </p:grpSpPr>
        <p:grpSp>
          <p:nvGrpSpPr>
            <p:cNvPr id="20" name="Gráfico 3">
              <a:extLst>
                <a:ext uri="{FF2B5EF4-FFF2-40B4-BE49-F238E27FC236}">
                  <a16:creationId xmlns:a16="http://schemas.microsoft.com/office/drawing/2014/main" id="{8C78BD98-5091-47F4-822F-DEB555D32368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grpFill/>
          </p:grpSpPr>
          <p:grpSp>
            <p:nvGrpSpPr>
              <p:cNvPr id="22" name="Gráfico 3">
                <a:extLst>
                  <a:ext uri="{FF2B5EF4-FFF2-40B4-BE49-F238E27FC236}">
                    <a16:creationId xmlns:a16="http://schemas.microsoft.com/office/drawing/2014/main" id="{BBF101EA-4BF8-4959-881E-768AB1445F1C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grpFill/>
            </p:grpSpPr>
            <p:sp>
              <p:nvSpPr>
                <p:cNvPr id="24" name="Forma libre: forma 23">
                  <a:extLst>
                    <a:ext uri="{FF2B5EF4-FFF2-40B4-BE49-F238E27FC236}">
                      <a16:creationId xmlns:a16="http://schemas.microsoft.com/office/drawing/2014/main" id="{F1571A84-D5B2-4AC9-B8E4-0B250134F84B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" name="Forma libre: forma 24">
                  <a:extLst>
                    <a:ext uri="{FF2B5EF4-FFF2-40B4-BE49-F238E27FC236}">
                      <a16:creationId xmlns:a16="http://schemas.microsoft.com/office/drawing/2014/main" id="{D3472694-433B-4CB9-B15A-EF873066E282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orma libre: forma 25">
                  <a:extLst>
                    <a:ext uri="{FF2B5EF4-FFF2-40B4-BE49-F238E27FC236}">
                      <a16:creationId xmlns:a16="http://schemas.microsoft.com/office/drawing/2014/main" id="{9D71553B-BD51-4F46-8E3D-1426A8E9D38C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" name="Forma libre: forma 26">
                  <a:extLst>
                    <a:ext uri="{FF2B5EF4-FFF2-40B4-BE49-F238E27FC236}">
                      <a16:creationId xmlns:a16="http://schemas.microsoft.com/office/drawing/2014/main" id="{E200C120-949C-422B-ABD1-01B30E23D2C7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" name="Forma libre: forma 27">
                  <a:extLst>
                    <a:ext uri="{FF2B5EF4-FFF2-40B4-BE49-F238E27FC236}">
                      <a16:creationId xmlns:a16="http://schemas.microsoft.com/office/drawing/2014/main" id="{876C3483-B8A0-4686-A016-77812407EE02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" name="Forma libre: forma 28">
                  <a:extLst>
                    <a:ext uri="{FF2B5EF4-FFF2-40B4-BE49-F238E27FC236}">
                      <a16:creationId xmlns:a16="http://schemas.microsoft.com/office/drawing/2014/main" id="{C637E125-583F-46E2-9361-D22BB80ED96A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3" name="Forma libre: forma 22">
                <a:extLst>
                  <a:ext uri="{FF2B5EF4-FFF2-40B4-BE49-F238E27FC236}">
                    <a16:creationId xmlns:a16="http://schemas.microsoft.com/office/drawing/2014/main" id="{7CFAAE8F-A9C3-420D-A533-8B5139658F7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grpFill/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2792210C-97F6-4FD5-A2CC-CDA3A0F6B016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grpFill/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5951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nta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rma libre: forma 18">
            <a:extLst>
              <a:ext uri="{FF2B5EF4-FFF2-40B4-BE49-F238E27FC236}">
                <a16:creationId xmlns:a16="http://schemas.microsoft.com/office/drawing/2014/main" id="{B61CF4CC-ED27-4967-A11A-B838DFD4D9A3}"/>
              </a:ext>
            </a:extLst>
          </p:cNvPr>
          <p:cNvSpPr/>
          <p:nvPr userDrawn="1"/>
        </p:nvSpPr>
        <p:spPr>
          <a:xfrm>
            <a:off x="0" y="5229922"/>
            <a:ext cx="12192000" cy="1628078"/>
          </a:xfrm>
          <a:custGeom>
            <a:avLst/>
            <a:gdLst>
              <a:gd name="connsiteX0" fmla="*/ 8943278 w 12192000"/>
              <a:gd name="connsiteY0" fmla="*/ 0 h 1628078"/>
              <a:gd name="connsiteX1" fmla="*/ 12192000 w 12192000"/>
              <a:gd name="connsiteY1" fmla="*/ 0 h 1628078"/>
              <a:gd name="connsiteX2" fmla="*/ 12192000 w 12192000"/>
              <a:gd name="connsiteY2" fmla="*/ 1628078 h 1628078"/>
              <a:gd name="connsiteX3" fmla="*/ 0 w 12192000"/>
              <a:gd name="connsiteY3" fmla="*/ 1628078 h 1628078"/>
              <a:gd name="connsiteX4" fmla="*/ 0 w 12192000"/>
              <a:gd name="connsiteY4" fmla="*/ 1226634 h 1628078"/>
              <a:gd name="connsiteX5" fmla="*/ 8943278 w 12192000"/>
              <a:gd name="connsiteY5" fmla="*/ 1226634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628078">
                <a:moveTo>
                  <a:pt x="8943278" y="0"/>
                </a:moveTo>
                <a:lnTo>
                  <a:pt x="12192000" y="0"/>
                </a:lnTo>
                <a:lnTo>
                  <a:pt x="12192000" y="1628078"/>
                </a:lnTo>
                <a:lnTo>
                  <a:pt x="0" y="1628078"/>
                </a:lnTo>
                <a:lnTo>
                  <a:pt x="0" y="1226634"/>
                </a:lnTo>
                <a:lnTo>
                  <a:pt x="8943278" y="1226634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26" name="Picture 2" descr="Resultado de imagen de DJSI Member Log">
            <a:extLst>
              <a:ext uri="{FF2B5EF4-FFF2-40B4-BE49-F238E27FC236}">
                <a16:creationId xmlns:a16="http://schemas.microsoft.com/office/drawing/2014/main" id="{892B8B9E-DEBC-4365-A4A8-EB9654BA30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918" y="5573143"/>
            <a:ext cx="1347482" cy="455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o 19">
            <a:extLst>
              <a:ext uri="{FF2B5EF4-FFF2-40B4-BE49-F238E27FC236}">
                <a16:creationId xmlns:a16="http://schemas.microsoft.com/office/drawing/2014/main" id="{246620ED-93B0-4966-8E36-4B883B49E634}"/>
              </a:ext>
            </a:extLst>
          </p:cNvPr>
          <p:cNvGrpSpPr/>
          <p:nvPr userDrawn="1"/>
        </p:nvGrpSpPr>
        <p:grpSpPr>
          <a:xfrm>
            <a:off x="7612559" y="5573576"/>
            <a:ext cx="578707" cy="455017"/>
            <a:chOff x="2203451" y="-4230356"/>
            <a:chExt cx="6896100" cy="5422158"/>
          </a:xfrm>
        </p:grpSpPr>
        <p:pic>
          <p:nvPicPr>
            <p:cNvPr id="22" name="Imagen 21" descr="Imagen relacionada">
              <a:extLst>
                <a:ext uri="{FF2B5EF4-FFF2-40B4-BE49-F238E27FC236}">
                  <a16:creationId xmlns:a16="http://schemas.microsoft.com/office/drawing/2014/main" id="{E4D48186-AF8E-4052-97D2-CCAFD0E1AC7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44" t="3352" r="22378" b="28229"/>
            <a:stretch>
              <a:fillRect/>
            </a:stretch>
          </p:blipFill>
          <p:spPr bwMode="auto">
            <a:xfrm>
              <a:off x="3758085" y="-4230356"/>
              <a:ext cx="3798276" cy="3838472"/>
            </a:xfrm>
            <a:custGeom>
              <a:avLst/>
              <a:gdLst>
                <a:gd name="connsiteX0" fmla="*/ 1899138 w 3798276"/>
                <a:gd name="connsiteY0" fmla="*/ 0 h 3838472"/>
                <a:gd name="connsiteX1" fmla="*/ 3798276 w 3798276"/>
                <a:gd name="connsiteY1" fmla="*/ 1919236 h 3838472"/>
                <a:gd name="connsiteX2" fmla="*/ 1899138 w 3798276"/>
                <a:gd name="connsiteY2" fmla="*/ 3838472 h 3838472"/>
                <a:gd name="connsiteX3" fmla="*/ 0 w 3798276"/>
                <a:gd name="connsiteY3" fmla="*/ 1919236 h 3838472"/>
                <a:gd name="connsiteX4" fmla="*/ 1899138 w 3798276"/>
                <a:gd name="connsiteY4" fmla="*/ 0 h 383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8276" h="3838472">
                  <a:moveTo>
                    <a:pt x="1899138" y="0"/>
                  </a:moveTo>
                  <a:cubicBezTo>
                    <a:pt x="2948003" y="0"/>
                    <a:pt x="3798276" y="859271"/>
                    <a:pt x="3798276" y="1919236"/>
                  </a:cubicBezTo>
                  <a:cubicBezTo>
                    <a:pt x="3798276" y="2979201"/>
                    <a:pt x="2948003" y="3838472"/>
                    <a:pt x="1899138" y="3838472"/>
                  </a:cubicBezTo>
                  <a:cubicBezTo>
                    <a:pt x="850273" y="3838472"/>
                    <a:pt x="0" y="2979201"/>
                    <a:pt x="0" y="1919236"/>
                  </a:cubicBezTo>
                  <a:cubicBezTo>
                    <a:pt x="0" y="859271"/>
                    <a:pt x="850273" y="0"/>
                    <a:pt x="1899138" y="0"/>
                  </a:cubicBez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Imagen 23" descr="Imagen relacionada">
              <a:extLst>
                <a:ext uri="{FF2B5EF4-FFF2-40B4-BE49-F238E27FC236}">
                  <a16:creationId xmlns:a16="http://schemas.microsoft.com/office/drawing/2014/main" id="{411507B2-E393-4DDC-B151-70751F9943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757"/>
            <a:stretch>
              <a:fillRect/>
            </a:stretch>
          </p:blipFill>
          <p:spPr bwMode="auto">
            <a:xfrm>
              <a:off x="2203451" y="0"/>
              <a:ext cx="6896100" cy="1191802"/>
            </a:xfrm>
            <a:custGeom>
              <a:avLst/>
              <a:gdLst>
                <a:gd name="connsiteX0" fmla="*/ 0 w 6896100"/>
                <a:gd name="connsiteY0" fmla="*/ 0 h 1191802"/>
                <a:gd name="connsiteX1" fmla="*/ 6896100 w 6896100"/>
                <a:gd name="connsiteY1" fmla="*/ 0 h 1191802"/>
                <a:gd name="connsiteX2" fmla="*/ 6896100 w 6896100"/>
                <a:gd name="connsiteY2" fmla="*/ 1191802 h 1191802"/>
                <a:gd name="connsiteX3" fmla="*/ 0 w 6896100"/>
                <a:gd name="connsiteY3" fmla="*/ 1191802 h 119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6100" h="1191802">
                  <a:moveTo>
                    <a:pt x="0" y="0"/>
                  </a:moveTo>
                  <a:lnTo>
                    <a:pt x="6896100" y="0"/>
                  </a:lnTo>
                  <a:lnTo>
                    <a:pt x="6896100" y="1191802"/>
                  </a:lnTo>
                  <a:lnTo>
                    <a:pt x="0" y="1191802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073BDF73-2FC7-4E8C-B95B-B68B9F5D3BE9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9CE02EA9-2BA7-4D33-B913-E344024014F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9" name="Gráfico 3">
            <a:extLst>
              <a:ext uri="{FF2B5EF4-FFF2-40B4-BE49-F238E27FC236}">
                <a16:creationId xmlns:a16="http://schemas.microsoft.com/office/drawing/2014/main" id="{EF0F76C3-FD42-4FFC-A7F6-90BC080B08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031436" y="5796597"/>
            <a:ext cx="1054800" cy="328407"/>
            <a:chOff x="8431252" y="2444549"/>
            <a:chExt cx="1787600" cy="556560"/>
          </a:xfrm>
          <a:solidFill>
            <a:schemeClr val="bg1"/>
          </a:solidFill>
        </p:grpSpPr>
        <p:grpSp>
          <p:nvGrpSpPr>
            <p:cNvPr id="30" name="Gráfico 3">
              <a:extLst>
                <a:ext uri="{FF2B5EF4-FFF2-40B4-BE49-F238E27FC236}">
                  <a16:creationId xmlns:a16="http://schemas.microsoft.com/office/drawing/2014/main" id="{C049AF70-E555-4B8D-83E0-E4925A5D02DF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grpFill/>
          </p:grpSpPr>
          <p:grpSp>
            <p:nvGrpSpPr>
              <p:cNvPr id="33" name="Gráfico 3">
                <a:extLst>
                  <a:ext uri="{FF2B5EF4-FFF2-40B4-BE49-F238E27FC236}">
                    <a16:creationId xmlns:a16="http://schemas.microsoft.com/office/drawing/2014/main" id="{E2F30143-7D1C-4D8C-8DBF-B1F7B83F499A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grpFill/>
            </p:grpSpPr>
            <p:sp>
              <p:nvSpPr>
                <p:cNvPr id="35" name="Forma libre: forma 34">
                  <a:extLst>
                    <a:ext uri="{FF2B5EF4-FFF2-40B4-BE49-F238E27FC236}">
                      <a16:creationId xmlns:a16="http://schemas.microsoft.com/office/drawing/2014/main" id="{9FE8BCBD-DE7E-4D85-995E-0A2285A32992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orma libre: forma 35">
                  <a:extLst>
                    <a:ext uri="{FF2B5EF4-FFF2-40B4-BE49-F238E27FC236}">
                      <a16:creationId xmlns:a16="http://schemas.microsoft.com/office/drawing/2014/main" id="{37506676-73A5-4255-9B0E-4E34C2CFDEB5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orma libre: forma 36">
                  <a:extLst>
                    <a:ext uri="{FF2B5EF4-FFF2-40B4-BE49-F238E27FC236}">
                      <a16:creationId xmlns:a16="http://schemas.microsoft.com/office/drawing/2014/main" id="{09450649-E4FF-4A5C-A7AC-E14AC91A52CC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7">
                  <a:extLst>
                    <a:ext uri="{FF2B5EF4-FFF2-40B4-BE49-F238E27FC236}">
                      <a16:creationId xmlns:a16="http://schemas.microsoft.com/office/drawing/2014/main" id="{1363218E-67EE-4364-A292-A1F2863A4083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8">
                  <a:extLst>
                    <a:ext uri="{FF2B5EF4-FFF2-40B4-BE49-F238E27FC236}">
                      <a16:creationId xmlns:a16="http://schemas.microsoft.com/office/drawing/2014/main" id="{2978E3FB-5181-4674-936C-9BC9001964D9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9">
                  <a:extLst>
                    <a:ext uri="{FF2B5EF4-FFF2-40B4-BE49-F238E27FC236}">
                      <a16:creationId xmlns:a16="http://schemas.microsoft.com/office/drawing/2014/main" id="{C77B41CB-4A72-413B-9F6B-186DB070DD3E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4" name="Forma libre: forma 33">
                <a:extLst>
                  <a:ext uri="{FF2B5EF4-FFF2-40B4-BE49-F238E27FC236}">
                    <a16:creationId xmlns:a16="http://schemas.microsoft.com/office/drawing/2014/main" id="{47536DD8-C094-4D88-8CD1-924AA30C3777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grpFill/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C9EEAC15-4E6A-41E6-B69F-239CCE9C3D20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grpFill/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CuadroTexto 22">
            <a:extLst>
              <a:ext uri="{FF2B5EF4-FFF2-40B4-BE49-F238E27FC236}">
                <a16:creationId xmlns:a16="http://schemas.microsoft.com/office/drawing/2014/main" id="{A130F3B6-9F80-4528-B912-29A08CD63254}"/>
              </a:ext>
            </a:extLst>
          </p:cNvPr>
          <p:cNvSpPr txBox="1"/>
          <p:nvPr userDrawn="1"/>
        </p:nvSpPr>
        <p:spPr>
          <a:xfrm>
            <a:off x="719288" y="1895911"/>
            <a:ext cx="33654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tx2"/>
                </a:solidFill>
                <a:latin typeface="Santander Text" panose="020B0504020201020104" pitchFamily="34" charset="0"/>
              </a:rPr>
              <a:t>Nosso propósito é fazer com que pessoas e negócios prosperem.</a:t>
            </a:r>
          </a:p>
          <a:p>
            <a:endParaRPr lang="en-US" sz="1400">
              <a:solidFill>
                <a:schemeClr val="tx2"/>
              </a:solidFill>
              <a:latin typeface="Santander Text" panose="020B0504020201020104" pitchFamily="34" charset="0"/>
            </a:endParaRPr>
          </a:p>
          <a:p>
            <a:r>
              <a:rPr lang="en-US" sz="1400">
                <a:solidFill>
                  <a:schemeClr val="tx2"/>
                </a:solidFill>
                <a:latin typeface="Santander Text" panose="020B0504020201020104" pitchFamily="34" charset="0"/>
              </a:rPr>
              <a:t>Nossa cultura é baseada em acreditar que tudo deve ser:</a:t>
            </a:r>
          </a:p>
        </p:txBody>
      </p:sp>
      <p:sp>
        <p:nvSpPr>
          <p:cNvPr id="27" name="CuadroTexto 27">
            <a:extLst>
              <a:ext uri="{FF2B5EF4-FFF2-40B4-BE49-F238E27FC236}">
                <a16:creationId xmlns:a16="http://schemas.microsoft.com/office/drawing/2014/main" id="{0028E092-F4C1-4763-A22E-ED766E895AA6}"/>
              </a:ext>
            </a:extLst>
          </p:cNvPr>
          <p:cNvSpPr txBox="1"/>
          <p:nvPr userDrawn="1"/>
        </p:nvSpPr>
        <p:spPr>
          <a:xfrm>
            <a:off x="719288" y="3331261"/>
            <a:ext cx="3365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>
                <a:solidFill>
                  <a:schemeClr val="accent1"/>
                </a:solidFill>
                <a:latin typeface="Santander Headline" panose="020B0504020201020104" pitchFamily="34" charset="0"/>
              </a:rPr>
              <a:t>Simples, Pessoal e Justo</a:t>
            </a:r>
          </a:p>
        </p:txBody>
      </p:sp>
    </p:spTree>
    <p:extLst>
      <p:ext uri="{BB962C8B-B14F-4D97-AF65-F5344CB8AC3E}">
        <p14:creationId xmlns:p14="http://schemas.microsoft.com/office/powerpoint/2010/main" val="298191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2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">
            <a:extLst>
              <a:ext uri="{FF2B5EF4-FFF2-40B4-BE49-F238E27FC236}">
                <a16:creationId xmlns:a16="http://schemas.microsoft.com/office/drawing/2014/main" id="{6EB1811A-08EA-44FA-B781-B98D2D562A32}"/>
              </a:ext>
            </a:extLst>
          </p:cNvPr>
          <p:cNvSpPr/>
          <p:nvPr userDrawn="1"/>
        </p:nvSpPr>
        <p:spPr>
          <a:xfrm>
            <a:off x="0" y="0"/>
            <a:ext cx="12191999" cy="6871648"/>
          </a:xfrm>
          <a:prstGeom prst="rect">
            <a:avLst/>
          </a:prstGeom>
          <a:solidFill>
            <a:srgbClr val="33333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419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antander Headline" panose="020B0504020201020104" pitchFamily="34" charset="0"/>
              <a:ea typeface="+mn-ea"/>
              <a:cs typeface="+mn-cs"/>
            </a:endParaRPr>
          </a:p>
        </p:txBody>
      </p:sp>
      <p:cxnSp>
        <p:nvCxnSpPr>
          <p:cNvPr id="5" name="Conector reto 7">
            <a:extLst>
              <a:ext uri="{FF2B5EF4-FFF2-40B4-BE49-F238E27FC236}">
                <a16:creationId xmlns:a16="http://schemas.microsoft.com/office/drawing/2014/main" id="{3A0A4820-7E62-47C4-82FC-DC2C8F4B1118}"/>
              </a:ext>
            </a:extLst>
          </p:cNvPr>
          <p:cNvCxnSpPr>
            <a:cxnSpLocks/>
          </p:cNvCxnSpPr>
          <p:nvPr userDrawn="1"/>
        </p:nvCxnSpPr>
        <p:spPr>
          <a:xfrm>
            <a:off x="1014761" y="5303520"/>
            <a:ext cx="8677879" cy="0"/>
          </a:xfrm>
          <a:prstGeom prst="line">
            <a:avLst/>
          </a:prstGeom>
          <a:noFill/>
          <a:ln w="28575" cap="flat" cmpd="sng" algn="ctr">
            <a:solidFill>
              <a:srgbClr val="333333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6" name="Agrupar 60">
            <a:extLst>
              <a:ext uri="{FF2B5EF4-FFF2-40B4-BE49-F238E27FC236}">
                <a16:creationId xmlns:a16="http://schemas.microsoft.com/office/drawing/2014/main" id="{C41D3F73-3E63-4708-A111-E6E764C9AB62}"/>
              </a:ext>
            </a:extLst>
          </p:cNvPr>
          <p:cNvGrpSpPr/>
          <p:nvPr userDrawn="1"/>
        </p:nvGrpSpPr>
        <p:grpSpPr>
          <a:xfrm>
            <a:off x="1014761" y="5515644"/>
            <a:ext cx="2281375" cy="418286"/>
            <a:chOff x="9970347" y="5247396"/>
            <a:chExt cx="3430338" cy="628946"/>
          </a:xfrm>
          <a:solidFill>
            <a:srgbClr val="EC0000"/>
          </a:solidFill>
        </p:grpSpPr>
        <p:pic>
          <p:nvPicPr>
            <p:cNvPr id="7" name="Gráfico 5">
              <a:extLst>
                <a:ext uri="{FF2B5EF4-FFF2-40B4-BE49-F238E27FC236}">
                  <a16:creationId xmlns:a16="http://schemas.microsoft.com/office/drawing/2014/main" id="{4D42B285-8EFB-42C3-BE53-FA31BCD31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970347" y="5247396"/>
              <a:ext cx="1027787" cy="628946"/>
            </a:xfrm>
            <a:prstGeom prst="rect">
              <a:avLst/>
            </a:prstGeom>
          </p:spPr>
        </p:pic>
        <p:pic>
          <p:nvPicPr>
            <p:cNvPr id="8" name="Gráfico 5">
              <a:extLst>
                <a:ext uri="{FF2B5EF4-FFF2-40B4-BE49-F238E27FC236}">
                  <a16:creationId xmlns:a16="http://schemas.microsoft.com/office/drawing/2014/main" id="{293FA4A9-79DB-4859-830B-4D25F38C5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164213" y="5247396"/>
              <a:ext cx="1027787" cy="628946"/>
            </a:xfrm>
            <a:prstGeom prst="rect">
              <a:avLst/>
            </a:prstGeom>
          </p:spPr>
        </p:pic>
        <p:pic>
          <p:nvPicPr>
            <p:cNvPr id="9" name="Gráfico 5">
              <a:extLst>
                <a:ext uri="{FF2B5EF4-FFF2-40B4-BE49-F238E27FC236}">
                  <a16:creationId xmlns:a16="http://schemas.microsoft.com/office/drawing/2014/main" id="{E3F67475-9C4A-4327-9549-9794E2FF7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2372898" y="5247396"/>
              <a:ext cx="1027787" cy="628946"/>
            </a:xfrm>
            <a:prstGeom prst="rect">
              <a:avLst/>
            </a:prstGeom>
          </p:spPr>
        </p:pic>
      </p:grp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B158650-BE32-4A9A-B153-090B92D04A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4881" y="1388962"/>
            <a:ext cx="5201119" cy="3917606"/>
          </a:xfrm>
          <a:prstGeom prst="rect">
            <a:avLst/>
          </a:prstGeom>
        </p:spPr>
        <p:txBody>
          <a:bodyPr/>
          <a:lstStyle>
            <a:lvl1pPr marL="514350" indent="-514350">
              <a:lnSpc>
                <a:spcPct val="150000"/>
              </a:lnSpc>
              <a:buClr>
                <a:srgbClr val="D60000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Santander Headline" panose="020B0504020201020104" pitchFamily="34" charset="0"/>
              </a:defRPr>
            </a:lvl1pPr>
          </a:lstStyle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14" name="Gráfico 3">
            <a:extLst>
              <a:ext uri="{FF2B5EF4-FFF2-40B4-BE49-F238E27FC236}">
                <a16:creationId xmlns:a16="http://schemas.microsoft.com/office/drawing/2014/main" id="{904521CD-4EE8-4867-89B0-13D34BD404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2" r="5639"/>
          <a:stretch/>
        </p:blipFill>
        <p:spPr>
          <a:xfrm>
            <a:off x="7785604" y="-418152"/>
            <a:ext cx="4392818" cy="728980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9FB810F5-9321-4AD0-8AB8-34F1B2E8C5FB}"/>
              </a:ext>
            </a:extLst>
          </p:cNvPr>
          <p:cNvGrpSpPr/>
          <p:nvPr userDrawn="1"/>
        </p:nvGrpSpPr>
        <p:grpSpPr>
          <a:xfrm>
            <a:off x="10247970" y="6255832"/>
            <a:ext cx="1849043" cy="602168"/>
            <a:chOff x="10247970" y="6255832"/>
            <a:chExt cx="1849043" cy="602168"/>
          </a:xfrm>
        </p:grpSpPr>
        <p:sp>
          <p:nvSpPr>
            <p:cNvPr id="19" name="Retângulo 6">
              <a:extLst>
                <a:ext uri="{FF2B5EF4-FFF2-40B4-BE49-F238E27FC236}">
                  <a16:creationId xmlns:a16="http://schemas.microsoft.com/office/drawing/2014/main" id="{EAA6F58A-E214-4E5E-ADF8-75B785BA291E}"/>
                </a:ext>
              </a:extLst>
            </p:cNvPr>
            <p:cNvSpPr/>
            <p:nvPr/>
          </p:nvSpPr>
          <p:spPr>
            <a:xfrm>
              <a:off x="10247970" y="6255832"/>
              <a:ext cx="1849043" cy="602168"/>
            </a:xfrm>
            <a:prstGeom prst="rect">
              <a:avLst/>
            </a:prstGeom>
            <a:solidFill>
              <a:srgbClr val="EC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419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pic>
          <p:nvPicPr>
            <p:cNvPr id="20" name="Picture 19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9623F015-6F09-43A2-B418-55173C9C0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80762" y="6386756"/>
              <a:ext cx="1068771" cy="382294"/>
            </a:xfrm>
            <a:prstGeom prst="rect">
              <a:avLst/>
            </a:prstGeom>
          </p:spPr>
        </p:pic>
        <p:pic>
          <p:nvPicPr>
            <p:cNvPr id="21" name="Picture 20" descr="Graphical user interface&#10;&#10;Description automatically generated with low confidence">
              <a:extLst>
                <a:ext uri="{FF2B5EF4-FFF2-40B4-BE49-F238E27FC236}">
                  <a16:creationId xmlns:a16="http://schemas.microsoft.com/office/drawing/2014/main" id="{64778FC0-288D-42E2-AA28-87B1367797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782" t="20996" r="16037" b="40992"/>
            <a:stretch/>
          </p:blipFill>
          <p:spPr>
            <a:xfrm>
              <a:off x="11475435" y="6504812"/>
              <a:ext cx="485246" cy="146183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06EFD92-17EE-4072-A696-4BF049EC5496}"/>
                </a:ext>
              </a:extLst>
            </p:cNvPr>
            <p:cNvCxnSpPr>
              <a:cxnSpLocks/>
            </p:cNvCxnSpPr>
            <p:nvPr/>
          </p:nvCxnSpPr>
          <p:spPr>
            <a:xfrm>
              <a:off x="11414405" y="6466712"/>
              <a:ext cx="0" cy="219194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81CA1D-D843-4602-B4ED-644F8746CB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3761" y="704995"/>
            <a:ext cx="5202238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ÍNDICE</a:t>
            </a:r>
          </a:p>
        </p:txBody>
      </p:sp>
    </p:spTree>
    <p:extLst>
      <p:ext uri="{BB962C8B-B14F-4D97-AF65-F5344CB8AC3E}">
        <p14:creationId xmlns:p14="http://schemas.microsoft.com/office/powerpoint/2010/main" val="22415988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0CDF1C-FB17-4142-AAF3-E8BF7719DCD3}" type="slidenum">
              <a:rPr lang="es-ES_tradnl" altLang="pt-BR"/>
              <a:pPr>
                <a:defRPr/>
              </a:pPr>
              <a:t>‹#›</a:t>
            </a:fld>
            <a:endParaRPr lang="es-ES_tradnl" altLang="pt-BR" dirty="0"/>
          </a:p>
        </p:txBody>
      </p:sp>
    </p:spTree>
    <p:extLst>
      <p:ext uri="{BB962C8B-B14F-4D97-AF65-F5344CB8AC3E}">
        <p14:creationId xmlns:p14="http://schemas.microsoft.com/office/powerpoint/2010/main" val="1794860167"/>
      </p:ext>
    </p:extLst>
  </p:cSld>
  <p:clrMapOvr>
    <a:masterClrMapping/>
  </p:clrMapOvr>
  <p:transition spd="slow" advClick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2A41EF-72EB-4C79-8061-33AC87F62BA9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2/08/202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8B078-F74A-4AEF-86D7-AEE3FFA05D3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095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0CC57AA0-6C3B-4C80-BF6B-C321A960A9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641" y="1100239"/>
            <a:ext cx="10635843" cy="4906665"/>
          </a:xfrm>
        </p:spPr>
        <p:txBody>
          <a:bodyPr>
            <a:normAutofit/>
          </a:bodyPr>
          <a:lstStyle>
            <a:lvl1pPr marL="432000" indent="-396000">
              <a:buClr>
                <a:schemeClr val="accent1"/>
              </a:buClr>
              <a:buSzPct val="45000"/>
              <a:buFont typeface="+mj-lt"/>
              <a:buAutoNum type="arabicPeriod"/>
              <a:defRPr lang="en-US" sz="3800" b="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C69F3346-8E8C-4828-80EB-A38F5A9E3410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#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6E3F817E-E6AB-4420-87A3-BF0CA6819DA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4" name="Gráfico 3">
            <a:extLst>
              <a:ext uri="{FF2B5EF4-FFF2-40B4-BE49-F238E27FC236}">
                <a16:creationId xmlns:a16="http://schemas.microsoft.com/office/drawing/2014/main" id="{24C2AC80-199B-4041-8A45-926BA5673F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5" name="Gráfico 3">
              <a:extLst>
                <a:ext uri="{FF2B5EF4-FFF2-40B4-BE49-F238E27FC236}">
                  <a16:creationId xmlns:a16="http://schemas.microsoft.com/office/drawing/2014/main" id="{42676440-3113-4845-B556-E3D58D15C509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27" name="Gráfico 3">
                <a:extLst>
                  <a:ext uri="{FF2B5EF4-FFF2-40B4-BE49-F238E27FC236}">
                    <a16:creationId xmlns:a16="http://schemas.microsoft.com/office/drawing/2014/main" id="{926F7133-B91F-4222-AD66-D5BEF241E4DF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29" name="Forma libre: forma 23">
                  <a:extLst>
                    <a:ext uri="{FF2B5EF4-FFF2-40B4-BE49-F238E27FC236}">
                      <a16:creationId xmlns:a16="http://schemas.microsoft.com/office/drawing/2014/main" id="{AE9C00A5-97B8-4A38-BF01-F269582C36B1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" name="Forma libre: forma 34">
                  <a:extLst>
                    <a:ext uri="{FF2B5EF4-FFF2-40B4-BE49-F238E27FC236}">
                      <a16:creationId xmlns:a16="http://schemas.microsoft.com/office/drawing/2014/main" id="{86ADD825-2508-4AA9-ADA8-0255FE398026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orma libre: forma 35">
                  <a:extLst>
                    <a:ext uri="{FF2B5EF4-FFF2-40B4-BE49-F238E27FC236}">
                      <a16:creationId xmlns:a16="http://schemas.microsoft.com/office/drawing/2014/main" id="{64DD27DD-7C7E-4569-82A1-F19A4DE62559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orma libre: forma 36">
                  <a:extLst>
                    <a:ext uri="{FF2B5EF4-FFF2-40B4-BE49-F238E27FC236}">
                      <a16:creationId xmlns:a16="http://schemas.microsoft.com/office/drawing/2014/main" id="{B2159D28-16CF-413D-A8C6-26781F08DADB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7">
                  <a:extLst>
                    <a:ext uri="{FF2B5EF4-FFF2-40B4-BE49-F238E27FC236}">
                      <a16:creationId xmlns:a16="http://schemas.microsoft.com/office/drawing/2014/main" id="{92FAFB2A-B07A-46DE-8D5E-761353212EDA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8">
                  <a:extLst>
                    <a:ext uri="{FF2B5EF4-FFF2-40B4-BE49-F238E27FC236}">
                      <a16:creationId xmlns:a16="http://schemas.microsoft.com/office/drawing/2014/main" id="{F9BBB72D-2715-4637-B5E6-DCDBC33F06D0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8" name="Forma libre: forma 22">
                <a:extLst>
                  <a:ext uri="{FF2B5EF4-FFF2-40B4-BE49-F238E27FC236}">
                    <a16:creationId xmlns:a16="http://schemas.microsoft.com/office/drawing/2014/main" id="{DA0210F4-9900-46D5-9862-202418396907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6" name="Forma libre: forma 20">
              <a:extLst>
                <a:ext uri="{FF2B5EF4-FFF2-40B4-BE49-F238E27FC236}">
                  <a16:creationId xmlns:a16="http://schemas.microsoft.com/office/drawing/2014/main" id="{3086D90E-0BDE-4D04-A2DE-CE728C3497B5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id="{970C777E-AF8F-49E6-AA2B-8E4E05657B6E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42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49C540BB-A189-4361-ABD8-4DA84C6612C3}"/>
              </a:ext>
            </a:extLst>
          </p:cNvPr>
          <p:cNvSpPr/>
          <p:nvPr userDrawn="1"/>
        </p:nvSpPr>
        <p:spPr>
          <a:xfrm>
            <a:off x="8925340" y="0"/>
            <a:ext cx="3266660" cy="6858000"/>
          </a:xfrm>
          <a:custGeom>
            <a:avLst/>
            <a:gdLst>
              <a:gd name="connsiteX0" fmla="*/ 1630018 w 3266660"/>
              <a:gd name="connsiteY0" fmla="*/ 0 h 6858000"/>
              <a:gd name="connsiteX1" fmla="*/ 3266660 w 3266660"/>
              <a:gd name="connsiteY1" fmla="*/ 0 h 6858000"/>
              <a:gd name="connsiteX2" fmla="*/ 3266660 w 3266660"/>
              <a:gd name="connsiteY2" fmla="*/ 6858000 h 6858000"/>
              <a:gd name="connsiteX3" fmla="*/ 0 w 3266660"/>
              <a:gd name="connsiteY3" fmla="*/ 6858000 h 6858000"/>
              <a:gd name="connsiteX4" fmla="*/ 0 w 3266660"/>
              <a:gd name="connsiteY4" fmla="*/ 2822713 h 6858000"/>
              <a:gd name="connsiteX5" fmla="*/ 1630018 w 3266660"/>
              <a:gd name="connsiteY5" fmla="*/ 28227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6660" h="6858000">
                <a:moveTo>
                  <a:pt x="1630018" y="0"/>
                </a:moveTo>
                <a:lnTo>
                  <a:pt x="3266660" y="0"/>
                </a:lnTo>
                <a:lnTo>
                  <a:pt x="3266660" y="6858000"/>
                </a:lnTo>
                <a:lnTo>
                  <a:pt x="0" y="6858000"/>
                </a:lnTo>
                <a:lnTo>
                  <a:pt x="0" y="2822713"/>
                </a:lnTo>
                <a:lnTo>
                  <a:pt x="1630018" y="282271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045CB15-1F44-40E1-909E-6233010BC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519" y="626373"/>
            <a:ext cx="4386194" cy="2852737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lang="en-US" sz="50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r>
              <a:rPr lang="en-US" dirty="0"/>
              <a:t>style</a:t>
            </a:r>
            <a:endParaRPr lang="es-ES" dirty="0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38BAEA-EEE9-4346-9DB7-91D26BC94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5217" y="3270526"/>
            <a:ext cx="2958754" cy="236496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lang="es-ES" sz="16600" kern="1200" dirty="0">
                <a:solidFill>
                  <a:schemeClr val="bg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>
              <a:defRPr sz="13800">
                <a:solidFill>
                  <a:schemeClr val="tx1"/>
                </a:solidFill>
              </a:defRPr>
            </a:lvl2pPr>
            <a:lvl3pPr>
              <a:defRPr sz="11500">
                <a:solidFill>
                  <a:schemeClr val="tx1"/>
                </a:solidFill>
              </a:defRPr>
            </a:lvl3pPr>
            <a:lvl4pPr>
              <a:defRPr sz="9600">
                <a:solidFill>
                  <a:schemeClr val="tx1"/>
                </a:solidFill>
              </a:defRPr>
            </a:lvl4pPr>
            <a:lvl5pPr>
              <a:defRPr sz="9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65883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7"/>
            <a:ext cx="5297557" cy="1606047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43511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Marcador de texto 16">
            <a:extLst>
              <a:ext uri="{FF2B5EF4-FFF2-40B4-BE49-F238E27FC236}">
                <a16:creationId xmlns:a16="http://schemas.microsoft.com/office/drawing/2014/main" id="{07C8BA77-3119-41AC-B33B-745A751CC0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4" y="2944750"/>
            <a:ext cx="5308776" cy="308340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Marcador de texto 16">
            <a:extLst>
              <a:ext uri="{FF2B5EF4-FFF2-40B4-BE49-F238E27FC236}">
                <a16:creationId xmlns:a16="http://schemas.microsoft.com/office/drawing/2014/main" id="{81AA2FC0-CE4E-483D-AF92-BEA6CD796B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9971" y="1087458"/>
            <a:ext cx="5081004" cy="494069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53CAE700-D087-482F-B9AE-9B4627F6A825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#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ED28A310-680D-432E-8128-8A754D9B297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7" name="Gráfico 3">
            <a:extLst>
              <a:ext uri="{FF2B5EF4-FFF2-40B4-BE49-F238E27FC236}">
                <a16:creationId xmlns:a16="http://schemas.microsoft.com/office/drawing/2014/main" id="{6CB6E33C-A95C-46AA-B49C-BF31180F80E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8" name="Gráfico 3">
              <a:extLst>
                <a:ext uri="{FF2B5EF4-FFF2-40B4-BE49-F238E27FC236}">
                  <a16:creationId xmlns:a16="http://schemas.microsoft.com/office/drawing/2014/main" id="{1DFA3F27-CCC9-4049-AAF9-F226FD60EA8E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0" name="Gráfico 3">
                <a:extLst>
                  <a:ext uri="{FF2B5EF4-FFF2-40B4-BE49-F238E27FC236}">
                    <a16:creationId xmlns:a16="http://schemas.microsoft.com/office/drawing/2014/main" id="{66214761-C01D-4704-B3B8-7D499B571B9B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2" name="Forma libre: forma 23">
                  <a:extLst>
                    <a:ext uri="{FF2B5EF4-FFF2-40B4-BE49-F238E27FC236}">
                      <a16:creationId xmlns:a16="http://schemas.microsoft.com/office/drawing/2014/main" id="{1C872748-65A0-43BB-B181-5F38C5211F35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orma libre: forma 34">
                  <a:extLst>
                    <a:ext uri="{FF2B5EF4-FFF2-40B4-BE49-F238E27FC236}">
                      <a16:creationId xmlns:a16="http://schemas.microsoft.com/office/drawing/2014/main" id="{CC8CD11F-9528-4BAC-B060-02ECA0C19F25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orma libre: forma 35">
                  <a:extLst>
                    <a:ext uri="{FF2B5EF4-FFF2-40B4-BE49-F238E27FC236}">
                      <a16:creationId xmlns:a16="http://schemas.microsoft.com/office/drawing/2014/main" id="{BE9CC7ED-ADAF-451E-AAE2-86983C4DB58F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6">
                  <a:extLst>
                    <a:ext uri="{FF2B5EF4-FFF2-40B4-BE49-F238E27FC236}">
                      <a16:creationId xmlns:a16="http://schemas.microsoft.com/office/drawing/2014/main" id="{A82499B4-9FEA-455C-B499-26C9135E24C8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orma libre: forma 37">
                  <a:extLst>
                    <a:ext uri="{FF2B5EF4-FFF2-40B4-BE49-F238E27FC236}">
                      <a16:creationId xmlns:a16="http://schemas.microsoft.com/office/drawing/2014/main" id="{ACDADB09-6C65-4111-974C-AE628691CB75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" name="Forma libre: forma 38">
                  <a:extLst>
                    <a:ext uri="{FF2B5EF4-FFF2-40B4-BE49-F238E27FC236}">
                      <a16:creationId xmlns:a16="http://schemas.microsoft.com/office/drawing/2014/main" id="{2D3618BF-B6A0-49CC-A0DF-7A79796F0EBB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1" name="Forma libre: forma 22">
                <a:extLst>
                  <a:ext uri="{FF2B5EF4-FFF2-40B4-BE49-F238E27FC236}">
                    <a16:creationId xmlns:a16="http://schemas.microsoft.com/office/drawing/2014/main" id="{425652F8-0881-4040-BF68-693049A121F6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9" name="Forma libre: forma 20">
              <a:extLst>
                <a:ext uri="{FF2B5EF4-FFF2-40B4-BE49-F238E27FC236}">
                  <a16:creationId xmlns:a16="http://schemas.microsoft.com/office/drawing/2014/main" id="{C3134F5D-2533-49E4-896B-9BD1B3244D9B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4" name="Conector reto 43">
            <a:extLst>
              <a:ext uri="{FF2B5EF4-FFF2-40B4-BE49-F238E27FC236}">
                <a16:creationId xmlns:a16="http://schemas.microsoft.com/office/drawing/2014/main" id="{2482FAA2-EEF0-4103-A6AC-3F603CB18884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93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8"/>
            <a:ext cx="10758733" cy="836992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4" y="2687141"/>
            <a:ext cx="10758733" cy="3334247"/>
          </a:xfrm>
        </p:spPr>
        <p:txBody>
          <a:bodyPr numCol="2" spcCol="72000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9A17E6F-1CB5-48BA-9FCD-1726DDB47ED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5" name="Gráfico 3">
            <a:extLst>
              <a:ext uri="{FF2B5EF4-FFF2-40B4-BE49-F238E27FC236}">
                <a16:creationId xmlns:a16="http://schemas.microsoft.com/office/drawing/2014/main" id="{A4947FD6-10FD-45E3-8A25-FFD81EE86F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6" name="Gráfico 3">
              <a:extLst>
                <a:ext uri="{FF2B5EF4-FFF2-40B4-BE49-F238E27FC236}">
                  <a16:creationId xmlns:a16="http://schemas.microsoft.com/office/drawing/2014/main" id="{2ED6D629-9ED3-46EE-BFA8-E470E41B1DD2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28" name="Gráfico 3">
                <a:extLst>
                  <a:ext uri="{FF2B5EF4-FFF2-40B4-BE49-F238E27FC236}">
                    <a16:creationId xmlns:a16="http://schemas.microsoft.com/office/drawing/2014/main" id="{608C52C9-F17B-4DB4-ABDD-E451B00246FE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0" name="Forma libre: forma 23">
                  <a:extLst>
                    <a:ext uri="{FF2B5EF4-FFF2-40B4-BE49-F238E27FC236}">
                      <a16:creationId xmlns:a16="http://schemas.microsoft.com/office/drawing/2014/main" id="{EF437457-06A1-4FA9-9E92-4804F191E9C0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orma libre: forma 34">
                  <a:extLst>
                    <a:ext uri="{FF2B5EF4-FFF2-40B4-BE49-F238E27FC236}">
                      <a16:creationId xmlns:a16="http://schemas.microsoft.com/office/drawing/2014/main" id="{3B1FFD82-C57C-4183-846A-9B473978AC75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orma libre: forma 35">
                  <a:extLst>
                    <a:ext uri="{FF2B5EF4-FFF2-40B4-BE49-F238E27FC236}">
                      <a16:creationId xmlns:a16="http://schemas.microsoft.com/office/drawing/2014/main" id="{F4752364-0CAD-40D2-B3B9-75179DB52EF6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6">
                  <a:extLst>
                    <a:ext uri="{FF2B5EF4-FFF2-40B4-BE49-F238E27FC236}">
                      <a16:creationId xmlns:a16="http://schemas.microsoft.com/office/drawing/2014/main" id="{B347C847-056D-44B8-BDCC-7B40913E323D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7">
                  <a:extLst>
                    <a:ext uri="{FF2B5EF4-FFF2-40B4-BE49-F238E27FC236}">
                      <a16:creationId xmlns:a16="http://schemas.microsoft.com/office/drawing/2014/main" id="{8BF7B843-70AD-4441-9A8C-78976B20092E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8">
                  <a:extLst>
                    <a:ext uri="{FF2B5EF4-FFF2-40B4-BE49-F238E27FC236}">
                      <a16:creationId xmlns:a16="http://schemas.microsoft.com/office/drawing/2014/main" id="{86B58ED6-9F55-41C4-911C-DE3BB47DB43E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9" name="Forma libre: forma 22">
                <a:extLst>
                  <a:ext uri="{FF2B5EF4-FFF2-40B4-BE49-F238E27FC236}">
                    <a16:creationId xmlns:a16="http://schemas.microsoft.com/office/drawing/2014/main" id="{9E904750-F80F-4B4E-BB69-F6C12A3A48FA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7" name="Forma libre: forma 20">
              <a:extLst>
                <a:ext uri="{FF2B5EF4-FFF2-40B4-BE49-F238E27FC236}">
                  <a16:creationId xmlns:a16="http://schemas.microsoft.com/office/drawing/2014/main" id="{8D30EA52-C69B-4CA6-89EB-630FAF0E4452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A84C28FE-20C5-487F-BB8D-248AA92BA0B7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43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8"/>
            <a:ext cx="3801119" cy="4933929"/>
          </a:xfrm>
        </p:spPr>
        <p:txBody>
          <a:bodyPr anchor="t">
            <a:noAutofit/>
          </a:bodyPr>
          <a:lstStyle>
            <a:lvl1pPr>
              <a:defRPr lang="en-US" sz="2600" b="0" kern="1200" dirty="0">
                <a:solidFill>
                  <a:schemeClr val="accent3"/>
                </a:solidFill>
                <a:latin typeface="Santander Text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2722" y="1087458"/>
            <a:ext cx="6697035" cy="4933930"/>
          </a:xfrm>
        </p:spPr>
        <p:txBody>
          <a:bodyPr numCol="1" spcCol="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22F4E0F2-8B11-48C2-A58B-7DE822548740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#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C4194DD-D4CA-4569-9DF7-684B101B896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5" name="Gráfico 3">
            <a:extLst>
              <a:ext uri="{FF2B5EF4-FFF2-40B4-BE49-F238E27FC236}">
                <a16:creationId xmlns:a16="http://schemas.microsoft.com/office/drawing/2014/main" id="{17F5A487-B513-4C09-B817-9F6A23CC309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6" name="Gráfico 3">
              <a:extLst>
                <a:ext uri="{FF2B5EF4-FFF2-40B4-BE49-F238E27FC236}">
                  <a16:creationId xmlns:a16="http://schemas.microsoft.com/office/drawing/2014/main" id="{C8E238D8-1D3A-4B7E-A1A9-90C1CDABD037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28" name="Gráfico 3">
                <a:extLst>
                  <a:ext uri="{FF2B5EF4-FFF2-40B4-BE49-F238E27FC236}">
                    <a16:creationId xmlns:a16="http://schemas.microsoft.com/office/drawing/2014/main" id="{0A3B0904-5D5D-49C1-91C7-7556C6E6235C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0" name="Forma libre: forma 23">
                  <a:extLst>
                    <a:ext uri="{FF2B5EF4-FFF2-40B4-BE49-F238E27FC236}">
                      <a16:creationId xmlns:a16="http://schemas.microsoft.com/office/drawing/2014/main" id="{69688014-9054-48E3-8A56-D754122EE1AB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orma libre: forma 34">
                  <a:extLst>
                    <a:ext uri="{FF2B5EF4-FFF2-40B4-BE49-F238E27FC236}">
                      <a16:creationId xmlns:a16="http://schemas.microsoft.com/office/drawing/2014/main" id="{DDBA2687-2E5D-4361-964D-AAFB5BBE91AA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orma libre: forma 35">
                  <a:extLst>
                    <a:ext uri="{FF2B5EF4-FFF2-40B4-BE49-F238E27FC236}">
                      <a16:creationId xmlns:a16="http://schemas.microsoft.com/office/drawing/2014/main" id="{6504B928-6CCD-41FD-9A2E-5243BEF1983A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6">
                  <a:extLst>
                    <a:ext uri="{FF2B5EF4-FFF2-40B4-BE49-F238E27FC236}">
                      <a16:creationId xmlns:a16="http://schemas.microsoft.com/office/drawing/2014/main" id="{EB66FA94-C5FE-406E-A3F9-0BE0930C6D9D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7">
                  <a:extLst>
                    <a:ext uri="{FF2B5EF4-FFF2-40B4-BE49-F238E27FC236}">
                      <a16:creationId xmlns:a16="http://schemas.microsoft.com/office/drawing/2014/main" id="{91B4C68E-FCD9-41A7-AE1D-D713F18BD463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8">
                  <a:extLst>
                    <a:ext uri="{FF2B5EF4-FFF2-40B4-BE49-F238E27FC236}">
                      <a16:creationId xmlns:a16="http://schemas.microsoft.com/office/drawing/2014/main" id="{2661C582-CC5D-49BD-804E-090460847B7B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9" name="Forma libre: forma 22">
                <a:extLst>
                  <a:ext uri="{FF2B5EF4-FFF2-40B4-BE49-F238E27FC236}">
                    <a16:creationId xmlns:a16="http://schemas.microsoft.com/office/drawing/2014/main" id="{ACA72A37-A809-4A53-A369-4F9790707E6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7" name="Forma libre: forma 20">
              <a:extLst>
                <a:ext uri="{FF2B5EF4-FFF2-40B4-BE49-F238E27FC236}">
                  <a16:creationId xmlns:a16="http://schemas.microsoft.com/office/drawing/2014/main" id="{31DD11AC-9A4F-4769-85CD-95522B90F358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A64D66DB-0932-4984-A78A-D2F0A6661266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5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7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hart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3AABE934-895B-422A-B16D-773558A762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8"/>
            <a:ext cx="3911401" cy="1183132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2517170"/>
            <a:ext cx="3911401" cy="350421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Marcador de gráfico 5">
            <a:extLst>
              <a:ext uri="{FF2B5EF4-FFF2-40B4-BE49-F238E27FC236}">
                <a16:creationId xmlns:a16="http://schemas.microsoft.com/office/drawing/2014/main" id="{2444BFBF-CC97-48FB-BE66-A28460A7384B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797425" y="1087438"/>
            <a:ext cx="6672263" cy="493395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Santander Text" panose="020B0504020201020104" pitchFamily="34" charset="0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</a:t>
            </a:r>
            <a:r>
              <a:rPr lang="es-ES" dirty="0" err="1"/>
              <a:t>graphic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FBBEE351-FAC9-4A24-AF96-E70DA68DB73B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#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37452429-E369-4A3F-B057-64A904CB417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7" name="Gráfico 3">
            <a:extLst>
              <a:ext uri="{FF2B5EF4-FFF2-40B4-BE49-F238E27FC236}">
                <a16:creationId xmlns:a16="http://schemas.microsoft.com/office/drawing/2014/main" id="{C6CEFE55-5CF6-4F8F-B1AB-A27FEA3223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8" name="Gráfico 3">
              <a:extLst>
                <a:ext uri="{FF2B5EF4-FFF2-40B4-BE49-F238E27FC236}">
                  <a16:creationId xmlns:a16="http://schemas.microsoft.com/office/drawing/2014/main" id="{095C94A0-4736-4CFB-A30D-44A761465443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0" name="Gráfico 3">
                <a:extLst>
                  <a:ext uri="{FF2B5EF4-FFF2-40B4-BE49-F238E27FC236}">
                    <a16:creationId xmlns:a16="http://schemas.microsoft.com/office/drawing/2014/main" id="{ADC6BC41-ED43-4AAB-906C-F57DE9E8E978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2" name="Forma libre: forma 23">
                  <a:extLst>
                    <a:ext uri="{FF2B5EF4-FFF2-40B4-BE49-F238E27FC236}">
                      <a16:creationId xmlns:a16="http://schemas.microsoft.com/office/drawing/2014/main" id="{344CDD97-995F-46AE-9408-C173BC1E7B69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orma libre: forma 34">
                  <a:extLst>
                    <a:ext uri="{FF2B5EF4-FFF2-40B4-BE49-F238E27FC236}">
                      <a16:creationId xmlns:a16="http://schemas.microsoft.com/office/drawing/2014/main" id="{75624DF4-F3A6-424E-B44E-75E81B554B10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orma libre: forma 35">
                  <a:extLst>
                    <a:ext uri="{FF2B5EF4-FFF2-40B4-BE49-F238E27FC236}">
                      <a16:creationId xmlns:a16="http://schemas.microsoft.com/office/drawing/2014/main" id="{9B9D3661-D502-43F1-B500-5546938F3B54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6">
                  <a:extLst>
                    <a:ext uri="{FF2B5EF4-FFF2-40B4-BE49-F238E27FC236}">
                      <a16:creationId xmlns:a16="http://schemas.microsoft.com/office/drawing/2014/main" id="{BE22AC13-08D1-44F6-855E-6C3599120270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7">
                  <a:extLst>
                    <a:ext uri="{FF2B5EF4-FFF2-40B4-BE49-F238E27FC236}">
                      <a16:creationId xmlns:a16="http://schemas.microsoft.com/office/drawing/2014/main" id="{566F4669-E461-4887-99E6-D53DF1332FAA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8">
                  <a:extLst>
                    <a:ext uri="{FF2B5EF4-FFF2-40B4-BE49-F238E27FC236}">
                      <a16:creationId xmlns:a16="http://schemas.microsoft.com/office/drawing/2014/main" id="{48970A9B-B6FA-432A-B0FC-C5E6B8CEED33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1" name="Forma libre: forma 22">
                <a:extLst>
                  <a:ext uri="{FF2B5EF4-FFF2-40B4-BE49-F238E27FC236}">
                    <a16:creationId xmlns:a16="http://schemas.microsoft.com/office/drawing/2014/main" id="{C666B79A-63CE-4249-B1A3-BB47AF26DA2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9" name="Forma libre: forma 20">
              <a:extLst>
                <a:ext uri="{FF2B5EF4-FFF2-40B4-BE49-F238E27FC236}">
                  <a16:creationId xmlns:a16="http://schemas.microsoft.com/office/drawing/2014/main" id="{44542E94-9F5A-4D85-B2A9-3A6013342107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AD635163-8E83-41AC-B55E-848D593EDC0D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82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3" y="337100"/>
            <a:ext cx="9371025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1087459"/>
            <a:ext cx="3911401" cy="493393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Marcador de tabla 4">
            <a:extLst>
              <a:ext uri="{FF2B5EF4-FFF2-40B4-BE49-F238E27FC236}">
                <a16:creationId xmlns:a16="http://schemas.microsoft.com/office/drawing/2014/main" id="{DF826A4E-1A0C-46D7-8327-402D7A34DE68}"/>
              </a:ext>
            </a:extLst>
          </p:cNvPr>
          <p:cNvSpPr>
            <a:spLocks noGrp="1"/>
          </p:cNvSpPr>
          <p:nvPr>
            <p:ph type="tbl" sz="quarter" idx="18" hasCustomPrompt="1"/>
          </p:nvPr>
        </p:nvSpPr>
        <p:spPr>
          <a:xfrm>
            <a:off x="4867835" y="1581149"/>
            <a:ext cx="6601852" cy="444023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kumimoji="0" lang="es-ES" sz="1200" b="0" i="0" u="none" strike="noStrike" kern="1200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ntander Text Light" panose="020B0304020201020104" pitchFamily="34" charset="0"/>
                <a:ea typeface="+mn-ea"/>
                <a:cs typeface="+mn-cs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table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14" name="Marcador de texto 16">
            <a:extLst>
              <a:ext uri="{FF2B5EF4-FFF2-40B4-BE49-F238E27FC236}">
                <a16:creationId xmlns:a16="http://schemas.microsoft.com/office/drawing/2014/main" id="{C96F8991-1F66-478E-8C12-FB0275A2F2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67834" y="1087458"/>
            <a:ext cx="6601853" cy="38150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200" b="1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94EBEF9E-ACED-4D31-B762-C076A33B21BB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#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7" name="Freeform 5">
            <a:extLst>
              <a:ext uri="{FF2B5EF4-FFF2-40B4-BE49-F238E27FC236}">
                <a16:creationId xmlns:a16="http://schemas.microsoft.com/office/drawing/2014/main" id="{E3D6E1B3-7FBD-42D8-ABBF-B9EB0BA0FC8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2B307B72-5CBD-46D0-8FA3-6C5783EABA0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9" name="Gráfico 3">
              <a:extLst>
                <a:ext uri="{FF2B5EF4-FFF2-40B4-BE49-F238E27FC236}">
                  <a16:creationId xmlns:a16="http://schemas.microsoft.com/office/drawing/2014/main" id="{9646963D-73F6-4EF2-8516-E8EF968C4787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1" name="Gráfico 3">
                <a:extLst>
                  <a:ext uri="{FF2B5EF4-FFF2-40B4-BE49-F238E27FC236}">
                    <a16:creationId xmlns:a16="http://schemas.microsoft.com/office/drawing/2014/main" id="{DD5C7344-A8A2-4396-97A5-FDFEDDEC2CA8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3" name="Forma libre: forma 23">
                  <a:extLst>
                    <a:ext uri="{FF2B5EF4-FFF2-40B4-BE49-F238E27FC236}">
                      <a16:creationId xmlns:a16="http://schemas.microsoft.com/office/drawing/2014/main" id="{372217D6-8A57-499B-A626-45164D81C2AE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orma libre: forma 34">
                  <a:extLst>
                    <a:ext uri="{FF2B5EF4-FFF2-40B4-BE49-F238E27FC236}">
                      <a16:creationId xmlns:a16="http://schemas.microsoft.com/office/drawing/2014/main" id="{EBC05EE1-7329-4771-906E-97036E976342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Forma libre: forma 35">
                  <a:extLst>
                    <a:ext uri="{FF2B5EF4-FFF2-40B4-BE49-F238E27FC236}">
                      <a16:creationId xmlns:a16="http://schemas.microsoft.com/office/drawing/2014/main" id="{A4DC2613-E8F3-4BA0-8D21-9DC959EA7BBF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6">
                  <a:extLst>
                    <a:ext uri="{FF2B5EF4-FFF2-40B4-BE49-F238E27FC236}">
                      <a16:creationId xmlns:a16="http://schemas.microsoft.com/office/drawing/2014/main" id="{2E1225DE-3859-4926-9B0A-D1F31C57EBAD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7">
                  <a:extLst>
                    <a:ext uri="{FF2B5EF4-FFF2-40B4-BE49-F238E27FC236}">
                      <a16:creationId xmlns:a16="http://schemas.microsoft.com/office/drawing/2014/main" id="{DF92F70A-B256-4BE3-A675-CFC38F7F2CCE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8">
                  <a:extLst>
                    <a:ext uri="{FF2B5EF4-FFF2-40B4-BE49-F238E27FC236}">
                      <a16:creationId xmlns:a16="http://schemas.microsoft.com/office/drawing/2014/main" id="{7EF9F136-96FA-4E13-8BE8-8B60AADCD410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2" name="Forma libre: forma 22">
                <a:extLst>
                  <a:ext uri="{FF2B5EF4-FFF2-40B4-BE49-F238E27FC236}">
                    <a16:creationId xmlns:a16="http://schemas.microsoft.com/office/drawing/2014/main" id="{32A74AA1-55DE-45E1-850C-00BEF2B41441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0" name="Forma libre: forma 20">
              <a:extLst>
                <a:ext uri="{FF2B5EF4-FFF2-40B4-BE49-F238E27FC236}">
                  <a16:creationId xmlns:a16="http://schemas.microsoft.com/office/drawing/2014/main" id="{FD6A5CF6-4375-46C6-A77B-1747A146847E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B227E5E8-5D4A-4A8D-A5DF-30C573D9D5C2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87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hart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1087459"/>
            <a:ext cx="3911401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Marcador de texto 16">
            <a:extLst>
              <a:ext uri="{FF2B5EF4-FFF2-40B4-BE49-F238E27FC236}">
                <a16:creationId xmlns:a16="http://schemas.microsoft.com/office/drawing/2014/main" id="{714DD14E-5956-4FB9-8BE1-1064DD29319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24062" y="1087459"/>
            <a:ext cx="6445625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Marcador de gráfico 4">
            <a:extLst>
              <a:ext uri="{FF2B5EF4-FFF2-40B4-BE49-F238E27FC236}">
                <a16:creationId xmlns:a16="http://schemas.microsoft.com/office/drawing/2014/main" id="{9BA63F5F-FC37-4202-A6A3-A0F3EFAC9EB6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711024" y="1838325"/>
            <a:ext cx="3911600" cy="4183064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tx2"/>
                </a:solidFill>
                <a:latin typeface="Santander Text" panose="020B0504020201020104" pitchFamily="34" charset="0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</a:t>
            </a:r>
            <a:r>
              <a:rPr lang="es-ES" dirty="0" err="1"/>
              <a:t>graphic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17" name="Marcador de gráfico 4">
            <a:extLst>
              <a:ext uri="{FF2B5EF4-FFF2-40B4-BE49-F238E27FC236}">
                <a16:creationId xmlns:a16="http://schemas.microsoft.com/office/drawing/2014/main" id="{0CABFB2C-905F-4A94-BBC0-7C32FA7695A4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5024063" y="1838325"/>
            <a:ext cx="6445625" cy="4183064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tx2"/>
                </a:solidFill>
                <a:latin typeface="Santander Text" panose="020B0504020201020104" pitchFamily="34" charset="0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</a:t>
            </a:r>
            <a:r>
              <a:rPr lang="es-ES" dirty="0" err="1"/>
              <a:t>graphic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0AFA9332-4242-471C-9A44-92C4AE32908C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#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72115CD0-42D9-4E29-A15F-9A88AC32A10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30" name="Gráfico 3">
            <a:extLst>
              <a:ext uri="{FF2B5EF4-FFF2-40B4-BE49-F238E27FC236}">
                <a16:creationId xmlns:a16="http://schemas.microsoft.com/office/drawing/2014/main" id="{278F02D8-26A0-4EC0-BEED-EDB55AC3E47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31" name="Gráfico 3">
              <a:extLst>
                <a:ext uri="{FF2B5EF4-FFF2-40B4-BE49-F238E27FC236}">
                  <a16:creationId xmlns:a16="http://schemas.microsoft.com/office/drawing/2014/main" id="{A8BDC118-E2AF-45E2-8D98-0AD1ADF9C47E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3" name="Gráfico 3">
                <a:extLst>
                  <a:ext uri="{FF2B5EF4-FFF2-40B4-BE49-F238E27FC236}">
                    <a16:creationId xmlns:a16="http://schemas.microsoft.com/office/drawing/2014/main" id="{AC29ED84-47C5-48C8-96E3-BC4A4C972283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5" name="Forma libre: forma 23">
                  <a:extLst>
                    <a:ext uri="{FF2B5EF4-FFF2-40B4-BE49-F238E27FC236}">
                      <a16:creationId xmlns:a16="http://schemas.microsoft.com/office/drawing/2014/main" id="{A7998C5F-0006-44F0-BF30-6F63D11B5A3B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orma libre: forma 34">
                  <a:extLst>
                    <a:ext uri="{FF2B5EF4-FFF2-40B4-BE49-F238E27FC236}">
                      <a16:creationId xmlns:a16="http://schemas.microsoft.com/office/drawing/2014/main" id="{8BD703C0-9389-4F92-87B7-5706D01B49A4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orma libre: forma 35">
                  <a:extLst>
                    <a:ext uri="{FF2B5EF4-FFF2-40B4-BE49-F238E27FC236}">
                      <a16:creationId xmlns:a16="http://schemas.microsoft.com/office/drawing/2014/main" id="{D7AD1409-0F17-4544-BDB3-DB101BBCECC2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6">
                  <a:extLst>
                    <a:ext uri="{FF2B5EF4-FFF2-40B4-BE49-F238E27FC236}">
                      <a16:creationId xmlns:a16="http://schemas.microsoft.com/office/drawing/2014/main" id="{D9223053-2B27-4A2A-93FB-7358D8457198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7">
                  <a:extLst>
                    <a:ext uri="{FF2B5EF4-FFF2-40B4-BE49-F238E27FC236}">
                      <a16:creationId xmlns:a16="http://schemas.microsoft.com/office/drawing/2014/main" id="{70077904-DE20-4942-80A4-328CE60C8A6F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orma libre: forma 38">
                  <a:extLst>
                    <a:ext uri="{FF2B5EF4-FFF2-40B4-BE49-F238E27FC236}">
                      <a16:creationId xmlns:a16="http://schemas.microsoft.com/office/drawing/2014/main" id="{AD35EA49-41AD-4A97-A0A0-67B78C985E8B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4" name="Forma libre: forma 22">
                <a:extLst>
                  <a:ext uri="{FF2B5EF4-FFF2-40B4-BE49-F238E27FC236}">
                    <a16:creationId xmlns:a16="http://schemas.microsoft.com/office/drawing/2014/main" id="{7A3D2F1F-DB3F-4E79-AB21-97BC47AA885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" name="Forma libre: forma 20">
              <a:extLst>
                <a:ext uri="{FF2B5EF4-FFF2-40B4-BE49-F238E27FC236}">
                  <a16:creationId xmlns:a16="http://schemas.microsoft.com/office/drawing/2014/main" id="{6FE82B0B-7003-4E5F-A3AE-7C48C948D1AF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31122039-D16A-43C9-8BD3-1CE7F56C0AA4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33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33584D8D-F279-B8F2-5996-CC51E8BC97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17983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6" imgW="421" imgH="420" progId="TCLayout.ActiveDocument.1">
                  <p:embed/>
                </p:oleObj>
              </mc:Choice>
              <mc:Fallback>
                <p:oleObj name="Slide do think-cell" r:id="rId16" imgW="421" imgH="420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33584D8D-F279-B8F2-5996-CC51E8BC9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508141E-100E-4635-9FC3-353399DFC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0BD3726-4CCC-4808-AF74-D4FC34B77C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Edit Master text 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E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9DA10A-F167-488F-8E2B-A0FE565022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C937220-A8C8-4E71-8BA2-4260C5636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D5E98D6-3F4E-4F5E-9BFB-DDFD9AC1E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D97B6-E32F-4D7D-B839-7C3B51F2640F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25252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5" r:id="rId12"/>
    <p:sldLayoutId id="214748368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7225">
          <p15:clr>
            <a:srgbClr val="F26B43"/>
          </p15:clr>
        </p15:guide>
        <p15:guide id="3" pos="5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kaggle.com/c/santander-customer-satisfaction/data" TargetMode="Externa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:a16="http://schemas.microsoft.com/office/drawing/2014/main" id="{44C2E6A2-1477-392B-BAC5-24FD211C33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7" b="7917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Agrupar 24">
            <a:extLst>
              <a:ext uri="{FF2B5EF4-FFF2-40B4-BE49-F238E27FC236}">
                <a16:creationId xmlns:a16="http://schemas.microsoft.com/office/drawing/2014/main" id="{5C64B3C4-6FBF-E0DB-1A93-EB6950B7E3CA}"/>
              </a:ext>
            </a:extLst>
          </p:cNvPr>
          <p:cNvGrpSpPr/>
          <p:nvPr/>
        </p:nvGrpSpPr>
        <p:grpSpPr>
          <a:xfrm>
            <a:off x="0" y="-81023"/>
            <a:ext cx="12192000" cy="6950597"/>
            <a:chOff x="0" y="0"/>
            <a:chExt cx="12192000" cy="6262777"/>
          </a:xfrm>
        </p:grpSpPr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CB4D9822-5502-307C-BF7A-860BA8C78ED1}"/>
                </a:ext>
              </a:extLst>
            </p:cNvPr>
            <p:cNvSpPr/>
            <p:nvPr/>
          </p:nvSpPr>
          <p:spPr>
            <a:xfrm>
              <a:off x="8100204" y="4192438"/>
              <a:ext cx="4091796" cy="16476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69685100-C553-A522-73B7-DFE381703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0"/>
              <a:ext cx="12192000" cy="6262777"/>
            </a:xfrm>
            <a:prstGeom prst="rect">
              <a:avLst/>
            </a:prstGeom>
          </p:spPr>
        </p:pic>
      </p:grpSp>
      <p:pic>
        <p:nvPicPr>
          <p:cNvPr id="15" name="Imagem 14" descr="Logotipo&#10;&#10;Descrição gerada automaticamente">
            <a:extLst>
              <a:ext uri="{FF2B5EF4-FFF2-40B4-BE49-F238E27FC236}">
                <a16:creationId xmlns:a16="http://schemas.microsoft.com/office/drawing/2014/main" id="{03F3E865-B6A6-6DC1-6B1A-375B29247C9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636" b="33485"/>
          <a:stretch/>
        </p:blipFill>
        <p:spPr>
          <a:xfrm>
            <a:off x="9634741" y="5987085"/>
            <a:ext cx="2206336" cy="408047"/>
          </a:xfrm>
          <a:prstGeom prst="rect">
            <a:avLst/>
          </a:prstGeom>
        </p:spPr>
      </p:pic>
      <p:pic>
        <p:nvPicPr>
          <p:cNvPr id="2" name="Google Shape;8784;p365">
            <a:extLst>
              <a:ext uri="{FF2B5EF4-FFF2-40B4-BE49-F238E27FC236}">
                <a16:creationId xmlns:a16="http://schemas.microsoft.com/office/drawing/2014/main" id="{9EC87935-2006-17D1-1B53-D78B3D7F9441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50923" y="5713964"/>
            <a:ext cx="621351" cy="7405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F1810E01-7D0E-EF98-92C8-DD34601068B5}"/>
              </a:ext>
            </a:extLst>
          </p:cNvPr>
          <p:cNvGrpSpPr/>
          <p:nvPr/>
        </p:nvGrpSpPr>
        <p:grpSpPr>
          <a:xfrm>
            <a:off x="752355" y="2377562"/>
            <a:ext cx="4797510" cy="2102876"/>
            <a:chOff x="752355" y="2289149"/>
            <a:chExt cx="4797510" cy="2102876"/>
          </a:xfrm>
        </p:grpSpPr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69496C6B-5AE8-7B67-66C5-39EB0654D330}"/>
                </a:ext>
              </a:extLst>
            </p:cNvPr>
            <p:cNvSpPr txBox="1"/>
            <p:nvPr/>
          </p:nvSpPr>
          <p:spPr>
            <a:xfrm>
              <a:off x="752355" y="2289149"/>
              <a:ext cx="3335337" cy="15696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9600" b="1" dirty="0">
                  <a:solidFill>
                    <a:schemeClr val="bg1"/>
                  </a:solidFill>
                </a:rPr>
                <a:t>CASES</a:t>
              </a:r>
            </a:p>
          </p:txBody>
        </p:sp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8CA4BC79-01FD-C6D0-9BC6-C9E9C958992E}"/>
                </a:ext>
              </a:extLst>
            </p:cNvPr>
            <p:cNvSpPr txBox="1"/>
            <p:nvPr/>
          </p:nvSpPr>
          <p:spPr>
            <a:xfrm>
              <a:off x="879676" y="3684139"/>
              <a:ext cx="4670189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4000" b="1" dirty="0">
                  <a:solidFill>
                    <a:schemeClr val="bg1"/>
                  </a:solidFill>
                </a:rPr>
                <a:t>CIENTISTA DE DAD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166272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0F36D44A-0DC0-58A0-9A1D-68CFF7EB79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02" r="24802"/>
          <a:stretch/>
        </p:blipFill>
        <p:spPr>
          <a:xfrm>
            <a:off x="0" y="0"/>
            <a:ext cx="5184143" cy="685800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6DAD7FF8-35AB-3129-0C80-6FD68389F0B1}"/>
              </a:ext>
            </a:extLst>
          </p:cNvPr>
          <p:cNvSpPr/>
          <p:nvPr/>
        </p:nvSpPr>
        <p:spPr>
          <a:xfrm>
            <a:off x="0" y="0"/>
            <a:ext cx="5003800" cy="6858000"/>
          </a:xfrm>
          <a:prstGeom prst="rect">
            <a:avLst/>
          </a:prstGeom>
          <a:solidFill>
            <a:srgbClr val="0166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29CDCF70-3535-C413-9318-4ED6DBF58A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4" r="5994"/>
          <a:stretch/>
        </p:blipFill>
        <p:spPr>
          <a:xfrm>
            <a:off x="891821" y="0"/>
            <a:ext cx="11300179" cy="6858000"/>
          </a:xfrm>
          <a:prstGeom prst="rect">
            <a:avLst/>
          </a:prstGeom>
        </p:spPr>
      </p:pic>
      <p:pic>
        <p:nvPicPr>
          <p:cNvPr id="2" name="Google Shape;8784;p365">
            <a:extLst>
              <a:ext uri="{FF2B5EF4-FFF2-40B4-BE49-F238E27FC236}">
                <a16:creationId xmlns:a16="http://schemas.microsoft.com/office/drawing/2014/main" id="{5B9247D5-B9BD-7B40-93D5-1DF0515B9F93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196007" y="273863"/>
            <a:ext cx="621351" cy="7405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5C5E8B43-D584-B5B0-535E-18145FB654E7}"/>
              </a:ext>
            </a:extLst>
          </p:cNvPr>
          <p:cNvGrpSpPr/>
          <p:nvPr/>
        </p:nvGrpSpPr>
        <p:grpSpPr>
          <a:xfrm>
            <a:off x="6787247" y="2181832"/>
            <a:ext cx="4379341" cy="2740557"/>
            <a:chOff x="6352159" y="2366663"/>
            <a:chExt cx="4379341" cy="2740557"/>
          </a:xfrm>
        </p:grpSpPr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558F136F-551E-12EA-F27F-FF82506E14A0}"/>
                </a:ext>
              </a:extLst>
            </p:cNvPr>
            <p:cNvSpPr txBox="1"/>
            <p:nvPr/>
          </p:nvSpPr>
          <p:spPr>
            <a:xfrm>
              <a:off x="6392711" y="3045117"/>
              <a:ext cx="4338789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>
                  <a:solidFill>
                    <a:schemeClr val="bg1">
                      <a:lumMod val="50000"/>
                    </a:schemeClr>
                  </a:solidFill>
                </a:rPr>
                <a:t>      Para resolver este case você usará um</a:t>
              </a:r>
            </a:p>
            <a:p>
              <a:r>
                <a:rPr lang="pt-BR" sz="1600" dirty="0">
                  <a:solidFill>
                    <a:schemeClr val="bg1">
                      <a:lumMod val="50000"/>
                    </a:schemeClr>
                  </a:solidFill>
                </a:rPr>
                <a:t>conjunto de dados sintéticos contendo um grande número de variáveis numéricas. A coluna ‘</a:t>
              </a:r>
              <a:r>
                <a:rPr lang="pt-BR" sz="1600" b="1" dirty="0">
                  <a:solidFill>
                    <a:srgbClr val="0166FF"/>
                  </a:solidFill>
                </a:rPr>
                <a:t>TARGET</a:t>
              </a:r>
              <a:r>
                <a:rPr lang="pt-BR" sz="1600" dirty="0">
                  <a:solidFill>
                    <a:schemeClr val="bg1">
                      <a:lumMod val="50000"/>
                    </a:schemeClr>
                  </a:solidFill>
                </a:rPr>
                <a:t>’ é a variável resposta. Ela é igual a 1 para clientes insatisfeitos e igual a 0 para clientes satisfeitos. Duas bases são dadas, uma para treino e uma para avaliação. Três são as tarefas a serem realizadas.</a:t>
              </a:r>
            </a:p>
          </p:txBody>
        </p:sp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F8F873AB-D8C6-8B8D-398D-72D1E65486D1}"/>
                </a:ext>
              </a:extLst>
            </p:cNvPr>
            <p:cNvSpPr txBox="1"/>
            <p:nvPr/>
          </p:nvSpPr>
          <p:spPr>
            <a:xfrm>
              <a:off x="6352159" y="2366663"/>
              <a:ext cx="377597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3200" b="1" dirty="0">
                  <a:solidFill>
                    <a:srgbClr val="0166FF"/>
                  </a:solidFill>
                  <a:latin typeface="+mj-lt"/>
                </a:rPr>
                <a:t>CIENTISTA DE DADOS</a:t>
              </a:r>
            </a:p>
          </p:txBody>
        </p:sp>
        <p:sp>
          <p:nvSpPr>
            <p:cNvPr id="4" name="CaixaDeTexto 3">
              <a:extLst>
                <a:ext uri="{FF2B5EF4-FFF2-40B4-BE49-F238E27FC236}">
                  <a16:creationId xmlns:a16="http://schemas.microsoft.com/office/drawing/2014/main" id="{999CAE09-58BD-578B-6AC4-6D7397FDF285}"/>
                </a:ext>
              </a:extLst>
            </p:cNvPr>
            <p:cNvSpPr txBox="1"/>
            <p:nvPr/>
          </p:nvSpPr>
          <p:spPr>
            <a:xfrm>
              <a:off x="6392711" y="2957678"/>
              <a:ext cx="44792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dirty="0">
                  <a:solidFill>
                    <a:srgbClr val="0166FF"/>
                  </a:solidFill>
                  <a:latin typeface="+mj-lt"/>
                </a:rPr>
                <a:t>1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84089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79D5CF38-9687-27E2-C5E1-06ABCCFB8C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85"/>
            <a:ext cx="12192000" cy="6854429"/>
          </a:xfrm>
          <a:prstGeom prst="rect">
            <a:avLst/>
          </a:prstGeom>
        </p:spPr>
      </p:pic>
      <p:pic>
        <p:nvPicPr>
          <p:cNvPr id="2" name="Google Shape;8784;p365">
            <a:extLst>
              <a:ext uri="{FF2B5EF4-FFF2-40B4-BE49-F238E27FC236}">
                <a16:creationId xmlns:a16="http://schemas.microsoft.com/office/drawing/2014/main" id="{43366E58-CD38-A5ED-9FB0-B49ACB4D62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1196007" y="273863"/>
            <a:ext cx="621351" cy="7405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Agrupar 5">
            <a:extLst>
              <a:ext uri="{FF2B5EF4-FFF2-40B4-BE49-F238E27FC236}">
                <a16:creationId xmlns:a16="http://schemas.microsoft.com/office/drawing/2014/main" id="{FC466ED3-194E-AA7F-0F20-A85D74EFAD5A}"/>
              </a:ext>
            </a:extLst>
          </p:cNvPr>
          <p:cNvGrpSpPr/>
          <p:nvPr/>
        </p:nvGrpSpPr>
        <p:grpSpPr>
          <a:xfrm>
            <a:off x="770633" y="585309"/>
            <a:ext cx="10650734" cy="5687382"/>
            <a:chOff x="830066" y="572297"/>
            <a:chExt cx="10650734" cy="5687382"/>
          </a:xfrm>
        </p:grpSpPr>
        <p:sp>
          <p:nvSpPr>
            <p:cNvPr id="29" name="Retângulo: Cantos Arredondados 28">
              <a:extLst>
                <a:ext uri="{FF2B5EF4-FFF2-40B4-BE49-F238E27FC236}">
                  <a16:creationId xmlns:a16="http://schemas.microsoft.com/office/drawing/2014/main" id="{B47D3BF8-9073-D8C7-B480-F634AC0CA6C8}"/>
                </a:ext>
              </a:extLst>
            </p:cNvPr>
            <p:cNvSpPr/>
            <p:nvPr/>
          </p:nvSpPr>
          <p:spPr>
            <a:xfrm>
              <a:off x="830066" y="572297"/>
              <a:ext cx="4970211" cy="5666457"/>
            </a:xfrm>
            <a:prstGeom prst="roundRect">
              <a:avLst>
                <a:gd name="adj" fmla="val 83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6156CAD2-400D-F675-BBB7-2DA0B2B27E18}"/>
                </a:ext>
              </a:extLst>
            </p:cNvPr>
            <p:cNvGrpSpPr/>
            <p:nvPr/>
          </p:nvGrpSpPr>
          <p:grpSpPr>
            <a:xfrm>
              <a:off x="1169728" y="811102"/>
              <a:ext cx="4290888" cy="4943383"/>
              <a:chOff x="867425" y="811102"/>
              <a:chExt cx="4290888" cy="4943383"/>
            </a:xfrm>
          </p:grpSpPr>
          <p:sp>
            <p:nvSpPr>
              <p:cNvPr id="36" name="CaixaDeTexto 35">
                <a:extLst>
                  <a:ext uri="{FF2B5EF4-FFF2-40B4-BE49-F238E27FC236}">
                    <a16:creationId xmlns:a16="http://schemas.microsoft.com/office/drawing/2014/main" id="{EDEACDC6-3FCB-0812-FE7C-C624121ACF8B}"/>
                  </a:ext>
                </a:extLst>
              </p:cNvPr>
              <p:cNvSpPr txBox="1"/>
              <p:nvPr/>
            </p:nvSpPr>
            <p:spPr>
              <a:xfrm>
                <a:off x="867425" y="811102"/>
                <a:ext cx="4290888" cy="42473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500" b="1" dirty="0">
                    <a:solidFill>
                      <a:srgbClr val="0166FF"/>
                    </a:solidFill>
                  </a:rPr>
                  <a:t>a. 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Um falso positivo ocorre quando classificamos um cliente como insatisfeito, mas ela não se comporta como tal. Neste caso, o custo de preparar e executar uma ação de retenção é um valor fixo de </a:t>
                </a:r>
                <a:r>
                  <a:rPr lang="pt-BR" sz="1500" dirty="0" err="1">
                    <a:solidFill>
                      <a:schemeClr val="bg1">
                        <a:lumMod val="50000"/>
                      </a:schemeClr>
                    </a:solidFill>
                  </a:rPr>
                  <a:t>R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$ 10 por cliente. Nada é ganho pois a ação de retenção não é capaz de mudar o comportamento do cliente. Um falso negativo ocorre quando um cliente é previsto como satisfeito, mas na verdade ele estava insatisfeito. Neste caso, nenhum dinheiro foi gasto e nada foi ganho. Um verdadeiro positivo é um cliente que estava insatisfeito e foi alvo de uma ação de retenção. O benefício neste caso é o lucro da ação (</a:t>
                </a:r>
                <a:r>
                  <a:rPr lang="pt-BR" sz="1500" dirty="0" err="1">
                    <a:solidFill>
                      <a:schemeClr val="bg1">
                        <a:lumMod val="50000"/>
                      </a:schemeClr>
                    </a:solidFill>
                  </a:rPr>
                  <a:t>R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$ 100) menos os custos relacionados à ação de retenção (</a:t>
                </a:r>
                <a:r>
                  <a:rPr lang="pt-BR" sz="1500" dirty="0" err="1">
                    <a:solidFill>
                      <a:schemeClr val="bg1">
                        <a:lumMod val="50000"/>
                      </a:schemeClr>
                    </a:solidFill>
                  </a:rPr>
                  <a:t>R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$ 10). Por fim, um verdadeiro negativo é um cliente insatisfeito e que não é alvo de nenhuma ação. O benefício neste caso é zero, isto é, nenhum custo, mas nenhum lucro.</a:t>
                </a:r>
              </a:p>
              <a:p>
                <a:endParaRPr lang="pt-BR" sz="150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5" name="CaixaDeTexto 44">
                <a:extLst>
                  <a:ext uri="{FF2B5EF4-FFF2-40B4-BE49-F238E27FC236}">
                    <a16:creationId xmlns:a16="http://schemas.microsoft.com/office/drawing/2014/main" id="{B300E3DF-AD8D-1F2D-4D6A-7370F94EBF78}"/>
                  </a:ext>
                </a:extLst>
              </p:cNvPr>
              <p:cNvSpPr txBox="1"/>
              <p:nvPr/>
            </p:nvSpPr>
            <p:spPr>
              <a:xfrm>
                <a:off x="867425" y="4969655"/>
                <a:ext cx="3960118" cy="7848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A primeira tarefa deste case é maximizar o lucro esperado por cliente considerando o contexto descrito no parágrafo acima.</a:t>
                </a:r>
              </a:p>
            </p:txBody>
          </p:sp>
        </p:grpSp>
        <p:sp>
          <p:nvSpPr>
            <p:cNvPr id="4" name="Retângulo: Cantos Arredondados 28">
              <a:extLst>
                <a:ext uri="{FF2B5EF4-FFF2-40B4-BE49-F238E27FC236}">
                  <a16:creationId xmlns:a16="http://schemas.microsoft.com/office/drawing/2014/main" id="{2C03574B-7B5E-46A2-2B3F-ACF3F73B8D0D}"/>
                </a:ext>
              </a:extLst>
            </p:cNvPr>
            <p:cNvSpPr/>
            <p:nvPr/>
          </p:nvSpPr>
          <p:spPr>
            <a:xfrm>
              <a:off x="6025737" y="572297"/>
              <a:ext cx="4970211" cy="2645465"/>
            </a:xfrm>
            <a:prstGeom prst="roundRect">
              <a:avLst>
                <a:gd name="adj" fmla="val 83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69071EC9-6DF0-34B7-D648-856AAF1E40AD}"/>
                </a:ext>
              </a:extLst>
            </p:cNvPr>
            <p:cNvSpPr txBox="1"/>
            <p:nvPr/>
          </p:nvSpPr>
          <p:spPr>
            <a:xfrm>
              <a:off x="6365399" y="811102"/>
              <a:ext cx="4290888" cy="21698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00" b="1" dirty="0">
                  <a:solidFill>
                    <a:srgbClr val="0166FF"/>
                  </a:solidFill>
                </a:rPr>
                <a:t>b. </a:t>
              </a:r>
              <a:r>
                <a:rPr lang="pt-BR" sz="1500" dirty="0">
                  <a:solidFill>
                    <a:schemeClr val="bg1">
                      <a:lumMod val="50000"/>
                    </a:schemeClr>
                  </a:solidFill>
                </a:rPr>
                <a:t>A segunda tarefa consiste em dar uma nota de 1 a 5 para cada cliente da base teste, respeitando a variável ‘TARGET’, isto é, o seu nível de satisfação, sendo 1 o mais insatisfeito e 5 o mais satisfeito. Ao dar essa nota deve-se ter em mente que somente os clientes com nota 1 serão alvos de uma ação de retenção e que o objetivo dessa ação é maximizar o lucro esperado por cliente (usando os mesmos valores da primeira questão).</a:t>
              </a:r>
            </a:p>
          </p:txBody>
        </p:sp>
        <p:sp>
          <p:nvSpPr>
            <p:cNvPr id="12" name="Retângulo: Cantos Arredondados 28">
              <a:extLst>
                <a:ext uri="{FF2B5EF4-FFF2-40B4-BE49-F238E27FC236}">
                  <a16:creationId xmlns:a16="http://schemas.microsoft.com/office/drawing/2014/main" id="{8DECBBC7-A33F-455F-D4AF-7F2CD10C5872}"/>
                </a:ext>
              </a:extLst>
            </p:cNvPr>
            <p:cNvSpPr/>
            <p:nvPr/>
          </p:nvSpPr>
          <p:spPr>
            <a:xfrm>
              <a:off x="6025737" y="3401433"/>
              <a:ext cx="4970211" cy="1957645"/>
            </a:xfrm>
            <a:prstGeom prst="roundRect">
              <a:avLst>
                <a:gd name="adj" fmla="val 83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08210828-78C6-62B2-2067-F2991667E171}"/>
                </a:ext>
              </a:extLst>
            </p:cNvPr>
            <p:cNvSpPr txBox="1"/>
            <p:nvPr/>
          </p:nvSpPr>
          <p:spPr>
            <a:xfrm>
              <a:off x="6365399" y="3640238"/>
              <a:ext cx="4290888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00" b="1" dirty="0">
                  <a:solidFill>
                    <a:srgbClr val="0166FF"/>
                  </a:solidFill>
                </a:rPr>
                <a:t>c. </a:t>
              </a:r>
              <a:r>
                <a:rPr lang="pt-BR" sz="1500" dirty="0">
                  <a:solidFill>
                    <a:schemeClr val="bg1">
                      <a:lumMod val="50000"/>
                    </a:schemeClr>
                  </a:solidFill>
                </a:rPr>
                <a:t>Todo conjunto de dados é passível de ser dividido em grupos coesos, conhecidos como agrupamentos naturais. A terceira tarefa é encontrar os três grupos naturais que possuem os maiores lucros esperados por cliente (usando os mesmos valores da</a:t>
              </a:r>
            </a:p>
            <a:p>
              <a:r>
                <a:rPr lang="pt-BR" sz="1500" dirty="0">
                  <a:solidFill>
                    <a:schemeClr val="bg1">
                      <a:lumMod val="50000"/>
                    </a:schemeClr>
                  </a:solidFill>
                </a:rPr>
                <a:t>primeira questão).</a:t>
              </a: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DEAB5B0D-8725-55FC-151F-8B08F52342FF}"/>
                </a:ext>
              </a:extLst>
            </p:cNvPr>
            <p:cNvSpPr txBox="1"/>
            <p:nvPr/>
          </p:nvSpPr>
          <p:spPr>
            <a:xfrm>
              <a:off x="6025736" y="5505626"/>
              <a:ext cx="5455064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00" b="1" dirty="0">
                  <a:solidFill>
                    <a:schemeClr val="bg1"/>
                  </a:solidFill>
                </a:rPr>
                <a:t>BASES</a:t>
              </a:r>
            </a:p>
            <a:p>
              <a:r>
                <a:rPr lang="pt-BR" sz="1400" dirty="0">
                  <a:solidFill>
                    <a:schemeClr val="bg1"/>
                  </a:solidFill>
                </a:rPr>
                <a:t>As bases (train e test) podem ser encontradas aqui: </a:t>
              </a:r>
              <a:r>
                <a:rPr lang="pt-BR" sz="1400" dirty="0">
                  <a:solidFill>
                    <a:srgbClr val="0166FF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kaggle.com/c/santander-customer-satisfaction/data</a:t>
              </a:r>
              <a:endParaRPr lang="pt-BR" sz="1400" dirty="0">
                <a:solidFill>
                  <a:srgbClr val="0166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131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2339A658-696A-BC69-62C0-03026E2985DF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9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977625CE-FAFA-0FE8-F33B-B05DC74977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9" y="0"/>
            <a:ext cx="12186361" cy="6858000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C79CC9DD-0C13-C54F-1D10-D3B5B2326010}"/>
              </a:ext>
            </a:extLst>
          </p:cNvPr>
          <p:cNvGrpSpPr/>
          <p:nvPr/>
        </p:nvGrpSpPr>
        <p:grpSpPr>
          <a:xfrm>
            <a:off x="3102813" y="2311715"/>
            <a:ext cx="5986374" cy="1470639"/>
            <a:chOff x="2546429" y="2113091"/>
            <a:chExt cx="5986374" cy="1470639"/>
          </a:xfrm>
        </p:grpSpPr>
        <p:pic>
          <p:nvPicPr>
            <p:cNvPr id="9" name="Imagem 8" descr="Desenho de um círculo&#10;&#10;Descrição gerada automaticamente com confiança baixa">
              <a:extLst>
                <a:ext uri="{FF2B5EF4-FFF2-40B4-BE49-F238E27FC236}">
                  <a16:creationId xmlns:a16="http://schemas.microsoft.com/office/drawing/2014/main" id="{3C5C9B51-6497-D4D0-811D-4339A864ED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46429" y="2562850"/>
              <a:ext cx="3252486" cy="571121"/>
            </a:xfrm>
            <a:prstGeom prst="rect">
              <a:avLst/>
            </a:prstGeom>
          </p:spPr>
        </p:pic>
        <p:pic>
          <p:nvPicPr>
            <p:cNvPr id="12" name="Imagem 11" descr="Desenho de um círculo&#10;&#10;Descrição gerada automaticamente com confiança baixa">
              <a:extLst>
                <a:ext uri="{FF2B5EF4-FFF2-40B4-BE49-F238E27FC236}">
                  <a16:creationId xmlns:a16="http://schemas.microsoft.com/office/drawing/2014/main" id="{3F5F3D39-75C7-FEA3-0459-D6097E43F4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4577" y="2113091"/>
              <a:ext cx="1228226" cy="147063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666943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SANTANDER 2018">
      <a:dk1>
        <a:sysClr val="windowText" lastClr="000000"/>
      </a:dk1>
      <a:lt1>
        <a:srgbClr val="FFFFFF"/>
      </a:lt1>
      <a:dk2>
        <a:srgbClr val="595959"/>
      </a:dk2>
      <a:lt2>
        <a:srgbClr val="E7E6E6"/>
      </a:lt2>
      <a:accent1>
        <a:srgbClr val="EC0000"/>
      </a:accent1>
      <a:accent2>
        <a:srgbClr val="C00000"/>
      </a:accent2>
      <a:accent3>
        <a:srgbClr val="9E3667"/>
      </a:accent3>
      <a:accent4>
        <a:srgbClr val="63BA68"/>
      </a:accent4>
      <a:accent5>
        <a:srgbClr val="9BC3D3"/>
      </a:accent5>
      <a:accent6>
        <a:srgbClr val="FFCC33"/>
      </a:accent6>
      <a:hlink>
        <a:srgbClr val="9E3667"/>
      </a:hlink>
      <a:folHlink>
        <a:srgbClr val="C3DEE7"/>
      </a:folHlink>
    </a:clrScheme>
    <a:fontScheme name="Santander Text">
      <a:majorFont>
        <a:latin typeface="santander Headline"/>
        <a:ea typeface=""/>
        <a:cs typeface=""/>
      </a:majorFont>
      <a:minorFont>
        <a:latin typeface="Santander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18</TotalTime>
  <Words>437</Words>
  <Application>Microsoft Macintosh PowerPoint</Application>
  <PresentationFormat>Widescreen</PresentationFormat>
  <Paragraphs>16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Calibri</vt:lpstr>
      <vt:lpstr>Inter</vt:lpstr>
      <vt:lpstr>Santander Headline</vt:lpstr>
      <vt:lpstr>Santander Headline</vt:lpstr>
      <vt:lpstr>Santander Text</vt:lpstr>
      <vt:lpstr>Santander Text Light</vt:lpstr>
      <vt:lpstr>Segoe UI Semilight</vt:lpstr>
      <vt:lpstr>Tema de Office</vt:lpstr>
      <vt:lpstr>Slide do think-cell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o Ernesto Cruz Bodiao</dc:creator>
  <cp:lastModifiedBy>Bruna de Oliveira</cp:lastModifiedBy>
  <cp:revision>32</cp:revision>
  <dcterms:created xsi:type="dcterms:W3CDTF">2023-03-17T18:42:33Z</dcterms:created>
  <dcterms:modified xsi:type="dcterms:W3CDTF">2023-08-13T22:4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c2abd79-57a9-4473-8700-c843f76a1e37_Enabled">
    <vt:lpwstr>true</vt:lpwstr>
  </property>
  <property fmtid="{D5CDD505-2E9C-101B-9397-08002B2CF9AE}" pid="3" name="MSIP_Label_0c2abd79-57a9-4473-8700-c843f76a1e37_SetDate">
    <vt:lpwstr>2023-03-17T20:28:01Z</vt:lpwstr>
  </property>
  <property fmtid="{D5CDD505-2E9C-101B-9397-08002B2CF9AE}" pid="4" name="MSIP_Label_0c2abd79-57a9-4473-8700-c843f76a1e37_Method">
    <vt:lpwstr>Privileged</vt:lpwstr>
  </property>
  <property fmtid="{D5CDD505-2E9C-101B-9397-08002B2CF9AE}" pid="5" name="MSIP_Label_0c2abd79-57a9-4473-8700-c843f76a1e37_Name">
    <vt:lpwstr>Internal</vt:lpwstr>
  </property>
  <property fmtid="{D5CDD505-2E9C-101B-9397-08002B2CF9AE}" pid="6" name="MSIP_Label_0c2abd79-57a9-4473-8700-c843f76a1e37_SiteId">
    <vt:lpwstr>35595a02-4d6d-44ac-99e1-f9ab4cd872db</vt:lpwstr>
  </property>
  <property fmtid="{D5CDD505-2E9C-101B-9397-08002B2CF9AE}" pid="7" name="MSIP_Label_0c2abd79-57a9-4473-8700-c843f76a1e37_ActionId">
    <vt:lpwstr>9a972643-af84-4b71-8186-93115dd6de63</vt:lpwstr>
  </property>
  <property fmtid="{D5CDD505-2E9C-101B-9397-08002B2CF9AE}" pid="8" name="MSIP_Label_0c2abd79-57a9-4473-8700-c843f76a1e37_ContentBits">
    <vt:lpwstr>0</vt:lpwstr>
  </property>
</Properties>
</file>